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38FD1F4-8F0C-43AA-9747-E78CD170DAFF}"/>
    <pc:docChg chg="delSld">
      <pc:chgData name="Meyer Raphael (PAR-ES)" userId="79615dfe-ed48-4e74-a40f-4f7b034c1c27" providerId="ADAL" clId="{E38FD1F4-8F0C-43AA-9747-E78CD170DAFF}" dt="2022-03-09T15:50:13.205" v="1" actId="47"/>
      <pc:docMkLst>
        <pc:docMk/>
      </pc:docMkLst>
      <pc:sldChg chg="del">
        <pc:chgData name="Meyer Raphael (PAR-ES)" userId="79615dfe-ed48-4e74-a40f-4f7b034c1c27" providerId="ADAL" clId="{E38FD1F4-8F0C-43AA-9747-E78CD170DAFF}" dt="2022-03-09T15:50:02.554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E38FD1F4-8F0C-43AA-9747-E78CD170DAFF}" dt="2022-03-09T15:50:02.554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E38FD1F4-8F0C-43AA-9747-E78CD170DAFF}" dt="2022-03-09T15:50:13.205" v="1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C4337071-8AED-4D33-A3AC-E01C3E7D988F}"/>
    <pc:docChg chg="custSel modSld">
      <pc:chgData name="Weigel Stefan (PAR-EPS)" userId="fd3b2067-2981-4ad8-bf3a-d2e1004e4fa8" providerId="ADAL" clId="{C4337071-8AED-4D33-A3AC-E01C3E7D988F}" dt="2024-02-02T10:55:42.847" v="18" actId="27918"/>
      <pc:docMkLst>
        <pc:docMk/>
      </pc:docMkLst>
      <pc:sldChg chg="modSp mod">
        <pc:chgData name="Weigel Stefan (PAR-EPS)" userId="fd3b2067-2981-4ad8-bf3a-d2e1004e4fa8" providerId="ADAL" clId="{C4337071-8AED-4D33-A3AC-E01C3E7D988F}" dt="2024-02-02T10:55:42.847" v="18" actId="27918"/>
        <pc:sldMkLst>
          <pc:docMk/>
          <pc:sldMk cId="2251798312" sldId="416"/>
        </pc:sldMkLst>
        <pc:spChg chg="mod">
          <ac:chgData name="Weigel Stefan (PAR-EPS)" userId="fd3b2067-2981-4ad8-bf3a-d2e1004e4fa8" providerId="ADAL" clId="{C4337071-8AED-4D33-A3AC-E01C3E7D988F}" dt="2024-02-02T10:52:37.547" v="15" actId="20577"/>
          <ac:spMkLst>
            <pc:docMk/>
            <pc:sldMk cId="2251798312" sldId="416"/>
            <ac:spMk id="7" creationId="{997E4419-A7A8-4264-97B0-3A44B665821E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CAD2B611-C694-4902-9D90-88E004349EC6}"/>
    <pc:docChg chg="modSld">
      <pc:chgData name="Meyer Raphael (PAR-ES)" userId="79615dfe-ed48-4e74-a40f-4f7b034c1c27" providerId="ADAL" clId="{CAD2B611-C694-4902-9D90-88E004349EC6}" dt="2023-02-24T13:54:49.023" v="3" actId="27918"/>
      <pc:docMkLst>
        <pc:docMk/>
      </pc:docMkLst>
      <pc:sldChg chg="mod">
        <pc:chgData name="Meyer Raphael (PAR-ES)" userId="79615dfe-ed48-4e74-a40f-4f7b034c1c27" providerId="ADAL" clId="{CAD2B611-C694-4902-9D90-88E004349EC6}" dt="2023-02-24T13:54:49.023" v="3" actId="27918"/>
        <pc:sldMkLst>
          <pc:docMk/>
          <pc:sldMk cId="2251798312" sldId="416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onnements généraux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4189200000000001</c:v>
                </c:pt>
                <c:pt idx="1">
                  <c:v>0.45277399999999995</c:v>
                </c:pt>
                <c:pt idx="2">
                  <c:v>0.46013499999999996</c:v>
                </c:pt>
                <c:pt idx="3">
                  <c:v>0.47218299999999996</c:v>
                </c:pt>
                <c:pt idx="4">
                  <c:v>0.48016999999999999</c:v>
                </c:pt>
                <c:pt idx="5">
                  <c:v>0.490205</c:v>
                </c:pt>
                <c:pt idx="6">
                  <c:v>0.49952999999999997</c:v>
                </c:pt>
                <c:pt idx="7">
                  <c:v>0.43870999999999999</c:v>
                </c:pt>
                <c:pt idx="8">
                  <c:v>0.40637099999999998</c:v>
                </c:pt>
                <c:pt idx="9">
                  <c:v>0.43076799999999998</c:v>
                </c:pt>
                <c:pt idx="10">
                  <c:v>0.44716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onnements demi-tarif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354409999999999</c:v>
                </c:pt>
                <c:pt idx="1">
                  <c:v>2.343696</c:v>
                </c:pt>
                <c:pt idx="2">
                  <c:v>2.3324039999999999</c:v>
                </c:pt>
                <c:pt idx="3">
                  <c:v>2.3949219999999998</c:v>
                </c:pt>
                <c:pt idx="4">
                  <c:v>2.5310319999999997</c:v>
                </c:pt>
                <c:pt idx="5">
                  <c:v>2.597655</c:v>
                </c:pt>
                <c:pt idx="6">
                  <c:v>2.7219449999999998</c:v>
                </c:pt>
                <c:pt idx="7">
                  <c:v>2.720812</c:v>
                </c:pt>
                <c:pt idx="8">
                  <c:v>2.828964</c:v>
                </c:pt>
                <c:pt idx="9">
                  <c:v>2.9686149999999998</c:v>
                </c:pt>
                <c:pt idx="10">
                  <c:v>3.14667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279511413290545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9051</cdr:x>
      <cdr:y>0.06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380754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Millions</a:t>
          </a:r>
          <a:r>
            <a:rPr lang="de-CH" sz="1000" dirty="0">
              <a:solidFill>
                <a:srgbClr val="444444"/>
              </a:solidFill>
              <a:cs typeface="Arial" pitchFamily="34" charset="0"/>
            </a:rPr>
            <a:t> </a:t>
          </a:r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d’abonnements</a:t>
          </a:r>
          <a:endParaRPr lang="de-CH" sz="1000" dirty="0">
            <a:solidFill>
              <a:srgbClr val="444444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16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ients </a:t>
            </a:r>
            <a:r>
              <a:rPr lang="de-CH" dirty="0" err="1"/>
              <a:t>réguliers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60488844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onnements généraux et abonnements demi-tarif du Service direct Suiss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0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251798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B751216-838C-426F-B392-3A5C45654D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documentManagement/types"/>
    <ds:schemaRef ds:uri="http://purl.org/dc/dcmitype/"/>
    <ds:schemaRef ds:uri="2f5c8543-cf23-4718-a3b8-32b0a91d511a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96e82a89-ba48-4728-b345-cf206dbec8f1"/>
    <ds:schemaRef ds:uri="http://schemas.microsoft.com/office/2006/metadata/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s réguli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s régulier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